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12" r:id="rId15"/>
    <p:sldId id="2147375613" r:id="rId16"/>
    <p:sldId id="1633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89" d="100"/>
          <a:sy n="89" d="100"/>
        </p:scale>
        <p:origin x="466" y="7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2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Avni Tong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28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0" indent="0">
              <a:buNone/>
            </a:pPr>
            <a:r>
              <a:rPr lang="en-US" sz="2000" dirty="0"/>
              <a:t>With good HR policies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Trust ensures safety and security. Integrity is essential to have a good work cultur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3074" name="Picture 2" descr="The 3 Aspects Of Building Trust Between Leadership And Employees—And ...">
            <a:extLst>
              <a:ext uri="{FF2B5EF4-FFF2-40B4-BE49-F238E27FC236}">
                <a16:creationId xmlns:a16="http://schemas.microsoft.com/office/drawing/2014/main" id="{ABD8AE8D-F102-AB6D-0479-01ED3CC52B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0575" y="2382062"/>
            <a:ext cx="4551153" cy="3034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We had a fun time doing a group activity about meeting etiquettes. The dos and don’ts on how to go about communicating in a work plac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4098" name="Picture 2" descr="Get Giggling: 4 Ways to Laugh the Stress Out of Your Life | HealthAhead">
            <a:extLst>
              <a:ext uri="{FF2B5EF4-FFF2-40B4-BE49-F238E27FC236}">
                <a16:creationId xmlns:a16="http://schemas.microsoft.com/office/drawing/2014/main" id="{B2938B63-7617-7218-C0C5-4FD0441537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3401" y="2841331"/>
            <a:ext cx="4925503" cy="2321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Love is the only thing that matters at all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Love for others, love for self, love for life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Everything else is just a distraction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cat in a car&#10;&#10;Description automatically generated">
            <a:extLst>
              <a:ext uri="{FF2B5EF4-FFF2-40B4-BE49-F238E27FC236}">
                <a16:creationId xmlns:a16="http://schemas.microsoft.com/office/drawing/2014/main" id="{F4ADE540-8C86-DB9E-C0A9-A2AAA39B7CD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395" y="2023805"/>
            <a:ext cx="3269515" cy="369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Email Writing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3155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000" dirty="0"/>
              <a:t>Email writing is essential for clear and professional communication. It involves structuring messages effectively and using the right tone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Key learning: </a:t>
            </a:r>
            <a:r>
              <a:rPr lang="en-GB" sz="2000" dirty="0"/>
              <a:t>The key learning is the importance of clarity and brevity in emails to ensure the message is understood.</a:t>
            </a:r>
            <a:endParaRPr lang="en-US" sz="2000" dirty="0"/>
          </a:p>
          <a:p>
            <a:r>
              <a:rPr lang="en-US" sz="2000" dirty="0"/>
              <a:t>Key takeaway: </a:t>
            </a:r>
            <a:r>
              <a:rPr lang="en-GB" sz="2000" dirty="0"/>
              <a:t>Well-written emails enhance communication efficiency and professionalism.</a:t>
            </a:r>
            <a:endParaRPr lang="en-US" sz="2000" dirty="0"/>
          </a:p>
          <a:p>
            <a:r>
              <a:rPr lang="en-GB" sz="2000" dirty="0"/>
              <a:t>In the Energy sector, clear emails help coordinate projects and share critical updates efficiently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7556263" y="2483435"/>
            <a:ext cx="4195241" cy="34537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122" name="Picture 2" descr="Sending Letter Email. Isolated Cute Mail Cartoon Face Vector ...">
            <a:extLst>
              <a:ext uri="{FF2B5EF4-FFF2-40B4-BE49-F238E27FC236}">
                <a16:creationId xmlns:a16="http://schemas.microsoft.com/office/drawing/2014/main" id="{E11AFCF8-D69D-A5E7-4EA3-D029A2AE98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347" y="2592503"/>
            <a:ext cx="3022699" cy="3022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Stakeholder management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000" dirty="0"/>
              <a:t>Stakeholder management involves identifying and engaging with individuals or groups who have an interest in a project or organization. Effective stakeholder management ensures their needs and expectations are met.</a:t>
            </a:r>
          </a:p>
          <a:p>
            <a:r>
              <a:rPr lang="en-US" sz="2000" dirty="0"/>
              <a:t>Key learning: The </a:t>
            </a:r>
            <a:r>
              <a:rPr lang="en-GB" sz="2000" dirty="0"/>
              <a:t>importance of clear communication and building strong relationships with stakeholders to ensure project success.</a:t>
            </a:r>
            <a:endParaRPr lang="en-US" sz="2000" dirty="0"/>
          </a:p>
          <a:p>
            <a:r>
              <a:rPr lang="en-US" sz="2000" dirty="0"/>
              <a:t>Key takeaway: </a:t>
            </a:r>
            <a:r>
              <a:rPr lang="en-GB" sz="2000" dirty="0"/>
              <a:t>Engaging stakeholders effectively can lead to better project outcomes and increased support.</a:t>
            </a:r>
            <a:endParaRPr lang="en-US" sz="2000" dirty="0"/>
          </a:p>
          <a:p>
            <a:r>
              <a:rPr lang="en-US" sz="2000" dirty="0"/>
              <a:t>I</a:t>
            </a:r>
            <a:r>
              <a:rPr lang="en-GB" sz="2000" dirty="0"/>
              <a:t>n the Energy sector, managing stakeholders is crucial for gaining approvals, ensuring compliance, and fostering collaboration on projects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148" name="Picture 4" descr="Succession Season 5 Release Date, News">
            <a:extLst>
              <a:ext uri="{FF2B5EF4-FFF2-40B4-BE49-F238E27FC236}">
                <a16:creationId xmlns:a16="http://schemas.microsoft.com/office/drawing/2014/main" id="{CA3EF23A-806B-7340-20FF-83D6C59C4D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4182" y="2716755"/>
            <a:ext cx="4203939" cy="2364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720750"/>
            <a:ext cx="7552122" cy="471167"/>
          </a:xfrm>
        </p:spPr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Trust and Integrit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000" dirty="0"/>
              <a:t>Trust and integrity are fundamental principles that guide ethical </a:t>
            </a:r>
            <a:r>
              <a:rPr lang="en-GB" sz="2000" dirty="0" err="1"/>
              <a:t>behavior</a:t>
            </a:r>
            <a:r>
              <a:rPr lang="en-GB" sz="2000" dirty="0"/>
              <a:t> and foster reliable relationships. They involve being honest, transparent, and consistent in actions and decisions.</a:t>
            </a:r>
            <a:endParaRPr lang="en-US" sz="2000" dirty="0"/>
          </a:p>
          <a:p>
            <a:r>
              <a:rPr lang="en-US" sz="2000" dirty="0"/>
              <a:t>T</a:t>
            </a:r>
            <a:r>
              <a:rPr lang="en-GB" sz="2000" dirty="0"/>
              <a:t>he key learning is that maintaining trust and integrity builds credibility and strengthens relationships, both personally and professionally.</a:t>
            </a:r>
            <a:endParaRPr lang="en-US" sz="2000" dirty="0"/>
          </a:p>
          <a:p>
            <a:r>
              <a:rPr lang="en-GB" sz="2000" dirty="0"/>
              <a:t>Upholding trust and integrity leads to a positive reputation and long-term success.</a:t>
            </a:r>
            <a:endParaRPr lang="en-US" sz="2000" dirty="0"/>
          </a:p>
          <a:p>
            <a:r>
              <a:rPr lang="en-GB" sz="2000" dirty="0"/>
              <a:t>In the Energy sector, trust and integrity are crucial for ensuring safety, compliance, and fostering collaboration among stakeholders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7170" name="Picture 2" descr="Trust stock illustration. Illustration of human, standing - 37901574">
            <a:extLst>
              <a:ext uri="{FF2B5EF4-FFF2-40B4-BE49-F238E27FC236}">
                <a16:creationId xmlns:a16="http://schemas.microsoft.com/office/drawing/2014/main" id="{129A5F02-BF9D-31A2-C35F-590919139F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647" y="2305234"/>
            <a:ext cx="3028051" cy="3187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Emails are essential for a company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ood emails ensure clear communication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1026" name="Picture 2" descr="Happy Mail by Katie McArthur on Dribbble">
            <a:extLst>
              <a:ext uri="{FF2B5EF4-FFF2-40B4-BE49-F238E27FC236}">
                <a16:creationId xmlns:a16="http://schemas.microsoft.com/office/drawing/2014/main" id="{FFDA9939-53D8-8DBA-AF17-209972855A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6858" y="2302185"/>
            <a:ext cx="4038587" cy="3028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0" indent="0">
              <a:buNone/>
            </a:pPr>
            <a:r>
              <a:rPr lang="en-US" sz="2000" dirty="0"/>
              <a:t>Stakeholders are important to have your priorities right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052" name="Picture 4" descr="How To Run A More Effective Board Meeting - Forbes India Blogs">
            <a:extLst>
              <a:ext uri="{FF2B5EF4-FFF2-40B4-BE49-F238E27FC236}">
                <a16:creationId xmlns:a16="http://schemas.microsoft.com/office/drawing/2014/main" id="{4BF78DDE-8F07-5B43-0DF3-3AC3F78A35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6053" y="2132115"/>
            <a:ext cx="5197775" cy="3465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26</TotalTime>
  <Words>484</Words>
  <Application>Microsoft Office PowerPoint</Application>
  <PresentationFormat>Widescreen</PresentationFormat>
  <Paragraphs>56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Email Writing</vt:lpstr>
      <vt:lpstr>Learning 2 | Stakeholder management</vt:lpstr>
      <vt:lpstr>Learning 3 | Trust and Integrity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Learning is also Fun!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Tonger, Avni SBOBNG-PTIV/LE</cp:lastModifiedBy>
  <cp:revision>504</cp:revision>
  <dcterms:created xsi:type="dcterms:W3CDTF">2022-01-18T12:35:56Z</dcterms:created>
  <dcterms:modified xsi:type="dcterms:W3CDTF">2024-09-02T03:3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